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1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28E470-6BE5-8321-DE24-76D7B9A87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8CF89A3-9ACC-ADFC-7690-1D53EA1BC4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CF89A3-9ACC-ADFC-7690-1D53EA1BC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D563D3-A85C-CD59-97B6-1C8FF1313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rg. Cha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D1AF4-49CA-B1E9-770E-D98C361D1E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D26E476-AD7E-D2B1-0436-E0B2E8797A3D}"/>
              </a:ext>
            </a:extLst>
          </p:cNvPr>
          <p:cNvGrpSpPr/>
          <p:nvPr/>
        </p:nvGrpSpPr>
        <p:grpSpPr>
          <a:xfrm>
            <a:off x="1469985" y="1376378"/>
            <a:ext cx="9252032" cy="4962708"/>
            <a:chOff x="1946039" y="1631729"/>
            <a:chExt cx="8299924" cy="4452006"/>
          </a:xfrm>
        </p:grpSpPr>
        <p:sp>
          <p:nvSpPr>
            <p:cNvPr id="42" name="Shape1_20180612_153317">
              <a:extLst>
                <a:ext uri="{FF2B5EF4-FFF2-40B4-BE49-F238E27FC236}">
                  <a16:creationId xmlns:a16="http://schemas.microsoft.com/office/drawing/2014/main" id="{AFF19B72-4CD6-4053-8417-F209D7F1E332}"/>
                </a:ext>
              </a:extLst>
            </p:cNvPr>
            <p:cNvSpPr/>
            <p:nvPr/>
          </p:nvSpPr>
          <p:spPr>
            <a:xfrm flipV="1">
              <a:off x="3958456" y="4435902"/>
              <a:ext cx="859119" cy="1304181"/>
            </a:xfrm>
            <a:prstGeom prst="bentArrow">
              <a:avLst>
                <a:gd name="adj1" fmla="val 8070"/>
                <a:gd name="adj2" fmla="val 8090"/>
                <a:gd name="adj3" fmla="val 9114"/>
                <a:gd name="adj4" fmla="val 1572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49" name="Shape0_20180612_153317">
              <a:extLst>
                <a:ext uri="{FF2B5EF4-FFF2-40B4-BE49-F238E27FC236}">
                  <a16:creationId xmlns:a16="http://schemas.microsoft.com/office/drawing/2014/main" id="{1824DC9B-3236-4A70-83A0-EBABFD2F3535}"/>
                </a:ext>
              </a:extLst>
            </p:cNvPr>
            <p:cNvSpPr/>
            <p:nvPr/>
          </p:nvSpPr>
          <p:spPr>
            <a:xfrm>
              <a:off x="4344970" y="3770367"/>
              <a:ext cx="1665535" cy="186025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0" name="Shape0_20180612_153317">
              <a:extLst>
                <a:ext uri="{FF2B5EF4-FFF2-40B4-BE49-F238E27FC236}">
                  <a16:creationId xmlns:a16="http://schemas.microsoft.com/office/drawing/2014/main" id="{0CABF23B-F28B-465D-9D82-4C332780555E}"/>
                </a:ext>
              </a:extLst>
            </p:cNvPr>
            <p:cNvSpPr/>
            <p:nvPr/>
          </p:nvSpPr>
          <p:spPr>
            <a:xfrm>
              <a:off x="8432321" y="3768411"/>
              <a:ext cx="915773" cy="186025"/>
            </a:xfrm>
            <a:prstGeom prst="right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B2ED59C5-5CE1-4FC8-A201-6F9D7609B429}"/>
                </a:ext>
              </a:extLst>
            </p:cNvPr>
            <p:cNvGrpSpPr/>
            <p:nvPr/>
          </p:nvGrpSpPr>
          <p:grpSpPr>
            <a:xfrm>
              <a:off x="1946039" y="3400065"/>
              <a:ext cx="859119" cy="859119"/>
              <a:chOff x="855044" y="3195087"/>
              <a:chExt cx="1181376" cy="1181375"/>
            </a:xfrm>
          </p:grpSpPr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D40A6843-3014-406E-BA0E-2A891199C4C0}"/>
                  </a:ext>
                </a:extLst>
              </p:cNvPr>
              <p:cNvSpPr/>
              <p:nvPr/>
            </p:nvSpPr>
            <p:spPr>
              <a:xfrm>
                <a:off x="855044" y="3195087"/>
                <a:ext cx="1181376" cy="118137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46487DAE-39CA-43C7-8F2E-3209352DD992}"/>
                  </a:ext>
                </a:extLst>
              </p:cNvPr>
              <p:cNvSpPr/>
              <p:nvPr/>
            </p:nvSpPr>
            <p:spPr>
              <a:xfrm>
                <a:off x="919860" y="3259903"/>
                <a:ext cx="1051743" cy="10517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  <a:cs typeface="Arial" pitchFamily="34" charset="0"/>
                  </a:rPr>
                  <a:t>Text</a:t>
                </a:r>
              </a:p>
            </p:txBody>
          </p:sp>
        </p:grpSp>
        <p:sp>
          <p:nvSpPr>
            <p:cNvPr id="52" name="Shape0_20180612_153317">
              <a:extLst>
                <a:ext uri="{FF2B5EF4-FFF2-40B4-BE49-F238E27FC236}">
                  <a16:creationId xmlns:a16="http://schemas.microsoft.com/office/drawing/2014/main" id="{63F23AF8-3226-40DD-B9FA-7007FEED517F}"/>
                </a:ext>
              </a:extLst>
            </p:cNvPr>
            <p:cNvSpPr/>
            <p:nvPr/>
          </p:nvSpPr>
          <p:spPr>
            <a:xfrm>
              <a:off x="2878888" y="3764818"/>
              <a:ext cx="637513" cy="186025"/>
            </a:xfrm>
            <a:prstGeom prst="leftRightArrow">
              <a:avLst>
                <a:gd name="adj1" fmla="val 50000"/>
                <a:gd name="adj2" fmla="val 60256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26790802-8051-49F5-AFBD-5A04196065E8}"/>
                </a:ext>
              </a:extLst>
            </p:cNvPr>
            <p:cNvGrpSpPr/>
            <p:nvPr/>
          </p:nvGrpSpPr>
          <p:grpSpPr>
            <a:xfrm>
              <a:off x="9386844" y="3431864"/>
              <a:ext cx="859119" cy="859119"/>
              <a:chOff x="10456429" y="3345510"/>
              <a:chExt cx="880527" cy="880528"/>
            </a:xfrm>
          </p:grpSpPr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640405EC-AE01-43AB-A499-764EDE0A63F9}"/>
                  </a:ext>
                </a:extLst>
              </p:cNvPr>
              <p:cNvSpPr/>
              <p:nvPr/>
            </p:nvSpPr>
            <p:spPr>
              <a:xfrm>
                <a:off x="10456429" y="3345510"/>
                <a:ext cx="880527" cy="880528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30882C79-7A2A-4919-B91F-E48BB8D13326}"/>
                  </a:ext>
                </a:extLst>
              </p:cNvPr>
              <p:cNvSpPr/>
              <p:nvPr/>
            </p:nvSpPr>
            <p:spPr>
              <a:xfrm>
                <a:off x="10504739" y="3393821"/>
                <a:ext cx="783907" cy="78390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  <a:cs typeface="Arial" pitchFamily="34" charset="0"/>
                  </a:rPr>
                  <a:t>Text</a:t>
                </a:r>
              </a:p>
            </p:txBody>
          </p:sp>
        </p:grpSp>
        <p:sp>
          <p:nvSpPr>
            <p:cNvPr id="54" name="Shape0_20180612_153317">
              <a:extLst>
                <a:ext uri="{FF2B5EF4-FFF2-40B4-BE49-F238E27FC236}">
                  <a16:creationId xmlns:a16="http://schemas.microsoft.com/office/drawing/2014/main" id="{B40D9AA1-9DE1-45F4-A8B7-0CD2967386E2}"/>
                </a:ext>
              </a:extLst>
            </p:cNvPr>
            <p:cNvSpPr/>
            <p:nvPr/>
          </p:nvSpPr>
          <p:spPr>
            <a:xfrm>
              <a:off x="6695265" y="3768411"/>
              <a:ext cx="1077917" cy="186025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5" name="Shape1_20180612_153317">
              <a:extLst>
                <a:ext uri="{FF2B5EF4-FFF2-40B4-BE49-F238E27FC236}">
                  <a16:creationId xmlns:a16="http://schemas.microsoft.com/office/drawing/2014/main" id="{C374E800-F361-4BE1-A90F-1CE091D4D7DB}"/>
                </a:ext>
              </a:extLst>
            </p:cNvPr>
            <p:cNvSpPr/>
            <p:nvPr/>
          </p:nvSpPr>
          <p:spPr>
            <a:xfrm flipV="1">
              <a:off x="3958455" y="4054247"/>
              <a:ext cx="1372506" cy="792626"/>
            </a:xfrm>
            <a:prstGeom prst="bentArrow">
              <a:avLst>
                <a:gd name="adj1" fmla="val 9853"/>
                <a:gd name="adj2" fmla="val 12309"/>
                <a:gd name="adj3" fmla="val 15020"/>
                <a:gd name="adj4" fmla="val 19523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6" name="Shape1_20180612_153317">
              <a:extLst>
                <a:ext uri="{FF2B5EF4-FFF2-40B4-BE49-F238E27FC236}">
                  <a16:creationId xmlns:a16="http://schemas.microsoft.com/office/drawing/2014/main" id="{A52B3E28-ED32-423E-8061-03091DA7D0E8}"/>
                </a:ext>
              </a:extLst>
            </p:cNvPr>
            <p:cNvSpPr/>
            <p:nvPr/>
          </p:nvSpPr>
          <p:spPr>
            <a:xfrm>
              <a:off x="3958455" y="2879884"/>
              <a:ext cx="1372506" cy="792626"/>
            </a:xfrm>
            <a:prstGeom prst="bentArrow">
              <a:avLst>
                <a:gd name="adj1" fmla="val 9232"/>
                <a:gd name="adj2" fmla="val 12309"/>
                <a:gd name="adj3" fmla="val 15020"/>
                <a:gd name="adj4" fmla="val 19523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7" name="Shape1_20180612_153317">
              <a:extLst>
                <a:ext uri="{FF2B5EF4-FFF2-40B4-BE49-F238E27FC236}">
                  <a16:creationId xmlns:a16="http://schemas.microsoft.com/office/drawing/2014/main" id="{DB385E96-4D4B-4B2D-8616-7DA7D86B2A25}"/>
                </a:ext>
              </a:extLst>
            </p:cNvPr>
            <p:cNvSpPr/>
            <p:nvPr/>
          </p:nvSpPr>
          <p:spPr>
            <a:xfrm>
              <a:off x="3958456" y="1986677"/>
              <a:ext cx="859119" cy="1304181"/>
            </a:xfrm>
            <a:prstGeom prst="bentArrow">
              <a:avLst>
                <a:gd name="adj1" fmla="val 8070"/>
                <a:gd name="adj2" fmla="val 8090"/>
                <a:gd name="adj3" fmla="val 9114"/>
                <a:gd name="adj4" fmla="val 1572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C4DD736A-C39E-43BF-8B7C-691D6FF4C127}"/>
                </a:ext>
              </a:extLst>
            </p:cNvPr>
            <p:cNvGrpSpPr/>
            <p:nvPr/>
          </p:nvGrpSpPr>
          <p:grpSpPr>
            <a:xfrm>
              <a:off x="3532987" y="3400065"/>
              <a:ext cx="859119" cy="859119"/>
              <a:chOff x="2902793" y="3195087"/>
              <a:chExt cx="1181376" cy="1181375"/>
            </a:xfrm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E129299B-6F86-4437-8B38-9C2B2388E749}"/>
                  </a:ext>
                </a:extLst>
              </p:cNvPr>
              <p:cNvSpPr/>
              <p:nvPr/>
            </p:nvSpPr>
            <p:spPr>
              <a:xfrm>
                <a:off x="2902793" y="3195087"/>
                <a:ext cx="1181376" cy="1181375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23061C40-6461-4487-9A97-EFCDE0AD3FE6}"/>
                  </a:ext>
                </a:extLst>
              </p:cNvPr>
              <p:cNvSpPr/>
              <p:nvPr/>
            </p:nvSpPr>
            <p:spPr>
              <a:xfrm>
                <a:off x="2967609" y="3259903"/>
                <a:ext cx="1051743" cy="10517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  <a:cs typeface="Arial" pitchFamily="34" charset="0"/>
                  </a:rPr>
                  <a:t>Text</a:t>
                </a:r>
              </a:p>
            </p:txBody>
          </p:sp>
        </p:grpSp>
        <p:sp>
          <p:nvSpPr>
            <p:cNvPr id="59" name="Shape1_20180612_153317">
              <a:extLst>
                <a:ext uri="{FF2B5EF4-FFF2-40B4-BE49-F238E27FC236}">
                  <a16:creationId xmlns:a16="http://schemas.microsoft.com/office/drawing/2014/main" id="{20A3373C-6770-4EFF-AE42-9A125145F48D}"/>
                </a:ext>
              </a:extLst>
            </p:cNvPr>
            <p:cNvSpPr/>
            <p:nvPr/>
          </p:nvSpPr>
          <p:spPr>
            <a:xfrm flipV="1">
              <a:off x="6409004" y="4224805"/>
              <a:ext cx="859119" cy="756446"/>
            </a:xfrm>
            <a:prstGeom prst="bentArrow">
              <a:avLst>
                <a:gd name="adj1" fmla="val 9853"/>
                <a:gd name="adj2" fmla="val 12309"/>
                <a:gd name="adj3" fmla="val 15020"/>
                <a:gd name="adj4" fmla="val 19523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60" name="Shape1_20180612_153317">
              <a:extLst>
                <a:ext uri="{FF2B5EF4-FFF2-40B4-BE49-F238E27FC236}">
                  <a16:creationId xmlns:a16="http://schemas.microsoft.com/office/drawing/2014/main" id="{05B15209-D1E5-4AB4-BB7E-8D7B6D12E5C3}"/>
                </a:ext>
              </a:extLst>
            </p:cNvPr>
            <p:cNvSpPr/>
            <p:nvPr/>
          </p:nvSpPr>
          <p:spPr>
            <a:xfrm>
              <a:off x="6409004" y="2702951"/>
              <a:ext cx="859119" cy="756446"/>
            </a:xfrm>
            <a:prstGeom prst="bentArrow">
              <a:avLst>
                <a:gd name="adj1" fmla="val 9853"/>
                <a:gd name="adj2" fmla="val 12309"/>
                <a:gd name="adj3" fmla="val 15020"/>
                <a:gd name="adj4" fmla="val 19523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80FFC3B-D606-4306-A82F-580AD175A975}"/>
                </a:ext>
              </a:extLst>
            </p:cNvPr>
            <p:cNvGrpSpPr/>
            <p:nvPr/>
          </p:nvGrpSpPr>
          <p:grpSpPr>
            <a:xfrm>
              <a:off x="4856877" y="1631729"/>
              <a:ext cx="2041157" cy="4452006"/>
              <a:chOff x="3332876" y="1631729"/>
              <a:chExt cx="2041157" cy="4452006"/>
            </a:xfrm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3CD39ECD-7B24-4A8E-BAA3-E4A047EF6345}"/>
                  </a:ext>
                </a:extLst>
              </p:cNvPr>
              <p:cNvGrpSpPr/>
              <p:nvPr/>
            </p:nvGrpSpPr>
            <p:grpSpPr>
              <a:xfrm>
                <a:off x="3844051" y="2548406"/>
                <a:ext cx="859119" cy="859119"/>
                <a:chOff x="5473904" y="2234732"/>
                <a:chExt cx="880527" cy="880528"/>
              </a:xfrm>
            </p:grpSpPr>
            <p:sp>
              <p:nvSpPr>
                <p:cNvPr id="84" name="Oval 83">
                  <a:extLst>
                    <a:ext uri="{FF2B5EF4-FFF2-40B4-BE49-F238E27FC236}">
                      <a16:creationId xmlns:a16="http://schemas.microsoft.com/office/drawing/2014/main" id="{8108486C-61C1-4163-B9D5-10A1D8B4EAA7}"/>
                    </a:ext>
                  </a:extLst>
                </p:cNvPr>
                <p:cNvSpPr/>
                <p:nvPr/>
              </p:nvSpPr>
              <p:spPr>
                <a:xfrm>
                  <a:off x="5473904" y="2234732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id="{B740EFEB-4B0F-4BD6-8366-BE24A3DBE06B}"/>
                    </a:ext>
                  </a:extLst>
                </p:cNvPr>
                <p:cNvSpPr/>
                <p:nvPr/>
              </p:nvSpPr>
              <p:spPr>
                <a:xfrm>
                  <a:off x="5522216" y="2283042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8FF45987-AE6A-489E-A36E-1CCED82FCA49}"/>
                  </a:ext>
                </a:extLst>
              </p:cNvPr>
              <p:cNvGrpSpPr/>
              <p:nvPr/>
            </p:nvGrpSpPr>
            <p:grpSpPr>
              <a:xfrm>
                <a:off x="3844051" y="4315320"/>
                <a:ext cx="859119" cy="859119"/>
                <a:chOff x="5473906" y="4428540"/>
                <a:chExt cx="880527" cy="880528"/>
              </a:xfrm>
            </p:grpSpPr>
            <p:sp>
              <p:nvSpPr>
                <p:cNvPr id="82" name="Oval 81">
                  <a:extLst>
                    <a:ext uri="{FF2B5EF4-FFF2-40B4-BE49-F238E27FC236}">
                      <a16:creationId xmlns:a16="http://schemas.microsoft.com/office/drawing/2014/main" id="{DA201846-B76E-46A5-B0DC-EF98F969F9D9}"/>
                    </a:ext>
                  </a:extLst>
                </p:cNvPr>
                <p:cNvSpPr/>
                <p:nvPr/>
              </p:nvSpPr>
              <p:spPr>
                <a:xfrm flipH="1">
                  <a:off x="5473906" y="4428540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83" name="Oval 82">
                  <a:extLst>
                    <a:ext uri="{FF2B5EF4-FFF2-40B4-BE49-F238E27FC236}">
                      <a16:creationId xmlns:a16="http://schemas.microsoft.com/office/drawing/2014/main" id="{7A74E5D4-3E6C-4C4D-BBB9-2776C811BCDE}"/>
                    </a:ext>
                  </a:extLst>
                </p:cNvPr>
                <p:cNvSpPr/>
                <p:nvPr/>
              </p:nvSpPr>
              <p:spPr>
                <a:xfrm flipH="1">
                  <a:off x="5522215" y="4476853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D5795DFE-0C58-418C-8359-AF0CF5F97BAA}"/>
                  </a:ext>
                </a:extLst>
              </p:cNvPr>
              <p:cNvGrpSpPr/>
              <p:nvPr/>
            </p:nvGrpSpPr>
            <p:grpSpPr>
              <a:xfrm>
                <a:off x="3332876" y="1631729"/>
                <a:ext cx="859119" cy="859119"/>
                <a:chOff x="4811445" y="1305168"/>
                <a:chExt cx="880527" cy="880528"/>
              </a:xfrm>
            </p:grpSpPr>
            <p:sp>
              <p:nvSpPr>
                <p:cNvPr id="76" name="Oval 75">
                  <a:extLst>
                    <a:ext uri="{FF2B5EF4-FFF2-40B4-BE49-F238E27FC236}">
                      <a16:creationId xmlns:a16="http://schemas.microsoft.com/office/drawing/2014/main" id="{DE7A1E80-B908-406F-93C7-6AAB61B4BFC0}"/>
                    </a:ext>
                  </a:extLst>
                </p:cNvPr>
                <p:cNvSpPr/>
                <p:nvPr/>
              </p:nvSpPr>
              <p:spPr>
                <a:xfrm>
                  <a:off x="4811445" y="1305168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7" name="Oval 76">
                  <a:extLst>
                    <a:ext uri="{FF2B5EF4-FFF2-40B4-BE49-F238E27FC236}">
                      <a16:creationId xmlns:a16="http://schemas.microsoft.com/office/drawing/2014/main" id="{029A1D82-0BEF-4355-9D5F-30C1161CF068}"/>
                    </a:ext>
                  </a:extLst>
                </p:cNvPr>
                <p:cNvSpPr/>
                <p:nvPr/>
              </p:nvSpPr>
              <p:spPr>
                <a:xfrm>
                  <a:off x="4859755" y="1353481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5627A181-1A7E-4FA2-9EDD-9BA33F686FC5}"/>
                  </a:ext>
                </a:extLst>
              </p:cNvPr>
              <p:cNvGrpSpPr/>
              <p:nvPr/>
            </p:nvGrpSpPr>
            <p:grpSpPr>
              <a:xfrm>
                <a:off x="3332876" y="5224616"/>
                <a:ext cx="859119" cy="859119"/>
                <a:chOff x="4811446" y="5406466"/>
                <a:chExt cx="880527" cy="880528"/>
              </a:xfrm>
            </p:grpSpPr>
            <p:sp>
              <p:nvSpPr>
                <p:cNvPr id="73" name="Oval 72">
                  <a:extLst>
                    <a:ext uri="{FF2B5EF4-FFF2-40B4-BE49-F238E27FC236}">
                      <a16:creationId xmlns:a16="http://schemas.microsoft.com/office/drawing/2014/main" id="{A58FC116-0F7B-4CBA-92F3-596116BE7757}"/>
                    </a:ext>
                  </a:extLst>
                </p:cNvPr>
                <p:cNvSpPr/>
                <p:nvPr/>
              </p:nvSpPr>
              <p:spPr>
                <a:xfrm flipH="1">
                  <a:off x="4811446" y="5406466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id="{F74A6AF7-9180-47A1-B226-CB807E950A73}"/>
                    </a:ext>
                  </a:extLst>
                </p:cNvPr>
                <p:cNvSpPr/>
                <p:nvPr/>
              </p:nvSpPr>
              <p:spPr>
                <a:xfrm flipH="1">
                  <a:off x="4859754" y="5454776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5" name="Oval 74">
                  <a:extLst>
                    <a:ext uri="{FF2B5EF4-FFF2-40B4-BE49-F238E27FC236}">
                      <a16:creationId xmlns:a16="http://schemas.microsoft.com/office/drawing/2014/main" id="{96DD02B9-724F-4ACA-BEE1-746215B7FB00}"/>
                    </a:ext>
                  </a:extLst>
                </p:cNvPr>
                <p:cNvSpPr/>
                <p:nvPr/>
              </p:nvSpPr>
              <p:spPr>
                <a:xfrm>
                  <a:off x="4859754" y="5454776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86C8FF90-2B8D-499F-9CF3-FEF481AF0C91}"/>
                  </a:ext>
                </a:extLst>
              </p:cNvPr>
              <p:cNvGrpSpPr/>
              <p:nvPr/>
            </p:nvGrpSpPr>
            <p:grpSpPr>
              <a:xfrm>
                <a:off x="4514914" y="3431863"/>
                <a:ext cx="859119" cy="859119"/>
                <a:chOff x="6136365" y="3345510"/>
                <a:chExt cx="880527" cy="880528"/>
              </a:xfrm>
            </p:grpSpPr>
            <p:sp>
              <p:nvSpPr>
                <p:cNvPr id="65" name="Oval 64">
                  <a:extLst>
                    <a:ext uri="{FF2B5EF4-FFF2-40B4-BE49-F238E27FC236}">
                      <a16:creationId xmlns:a16="http://schemas.microsoft.com/office/drawing/2014/main" id="{87B72ADF-A65A-4799-87B5-47AFBB05205A}"/>
                    </a:ext>
                  </a:extLst>
                </p:cNvPr>
                <p:cNvSpPr/>
                <p:nvPr/>
              </p:nvSpPr>
              <p:spPr>
                <a:xfrm>
                  <a:off x="6136365" y="3345510"/>
                  <a:ext cx="880527" cy="88052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6" name="Oval 65">
                  <a:extLst>
                    <a:ext uri="{FF2B5EF4-FFF2-40B4-BE49-F238E27FC236}">
                      <a16:creationId xmlns:a16="http://schemas.microsoft.com/office/drawing/2014/main" id="{441622C2-4D5B-4FAE-B214-0FE626C6EE6E}"/>
                    </a:ext>
                  </a:extLst>
                </p:cNvPr>
                <p:cNvSpPr/>
                <p:nvPr/>
              </p:nvSpPr>
              <p:spPr>
                <a:xfrm>
                  <a:off x="6184676" y="3393821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08A0F4A-DE65-4E5F-85F4-7F2A21D0D406}"/>
                </a:ext>
              </a:extLst>
            </p:cNvPr>
            <p:cNvGrpSpPr/>
            <p:nvPr/>
          </p:nvGrpSpPr>
          <p:grpSpPr>
            <a:xfrm>
              <a:off x="7297232" y="2352116"/>
              <a:ext cx="1372507" cy="2964191"/>
              <a:chOff x="5773231" y="2352115"/>
              <a:chExt cx="1372507" cy="2964191"/>
            </a:xfrm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D1F61EAB-8EEC-44D0-A1CE-5BEE28EFDCA8}"/>
                  </a:ext>
                </a:extLst>
              </p:cNvPr>
              <p:cNvGrpSpPr/>
              <p:nvPr/>
            </p:nvGrpSpPr>
            <p:grpSpPr>
              <a:xfrm>
                <a:off x="5773231" y="2352115"/>
                <a:ext cx="859119" cy="859119"/>
                <a:chOff x="7760058" y="2234732"/>
                <a:chExt cx="880527" cy="880528"/>
              </a:xfrm>
            </p:grpSpPr>
            <p:sp>
              <p:nvSpPr>
                <p:cNvPr id="80" name="Oval 79">
                  <a:extLst>
                    <a:ext uri="{FF2B5EF4-FFF2-40B4-BE49-F238E27FC236}">
                      <a16:creationId xmlns:a16="http://schemas.microsoft.com/office/drawing/2014/main" id="{883427AA-CCC9-46E1-BAA9-E9FFC40B1D36}"/>
                    </a:ext>
                  </a:extLst>
                </p:cNvPr>
                <p:cNvSpPr/>
                <p:nvPr/>
              </p:nvSpPr>
              <p:spPr>
                <a:xfrm>
                  <a:off x="7760058" y="2234732"/>
                  <a:ext cx="880527" cy="8805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81" name="Oval 80">
                  <a:extLst>
                    <a:ext uri="{FF2B5EF4-FFF2-40B4-BE49-F238E27FC236}">
                      <a16:creationId xmlns:a16="http://schemas.microsoft.com/office/drawing/2014/main" id="{A6E3959C-D7E4-48CB-BFF5-A1234F689C65}"/>
                    </a:ext>
                  </a:extLst>
                </p:cNvPr>
                <p:cNvSpPr/>
                <p:nvPr/>
              </p:nvSpPr>
              <p:spPr>
                <a:xfrm>
                  <a:off x="7808369" y="2283042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A5657559-7CE5-47FE-889C-4DBE95ED5C5E}"/>
                  </a:ext>
                </a:extLst>
              </p:cNvPr>
              <p:cNvGrpSpPr/>
              <p:nvPr/>
            </p:nvGrpSpPr>
            <p:grpSpPr>
              <a:xfrm>
                <a:off x="5773231" y="4457187"/>
                <a:ext cx="859119" cy="859119"/>
                <a:chOff x="7760059" y="4428540"/>
                <a:chExt cx="880527" cy="880528"/>
              </a:xfrm>
            </p:grpSpPr>
            <p:sp>
              <p:nvSpPr>
                <p:cNvPr id="78" name="Oval 77">
                  <a:extLst>
                    <a:ext uri="{FF2B5EF4-FFF2-40B4-BE49-F238E27FC236}">
                      <a16:creationId xmlns:a16="http://schemas.microsoft.com/office/drawing/2014/main" id="{588A80CD-9EE0-4004-8EE1-2859D26DE5D7}"/>
                    </a:ext>
                  </a:extLst>
                </p:cNvPr>
                <p:cNvSpPr/>
                <p:nvPr/>
              </p:nvSpPr>
              <p:spPr>
                <a:xfrm flipH="1">
                  <a:off x="7760059" y="4428540"/>
                  <a:ext cx="880527" cy="8805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9" name="Oval 78">
                  <a:extLst>
                    <a:ext uri="{FF2B5EF4-FFF2-40B4-BE49-F238E27FC236}">
                      <a16:creationId xmlns:a16="http://schemas.microsoft.com/office/drawing/2014/main" id="{3C142CD6-829A-4070-9CC7-3B1A5658B413}"/>
                    </a:ext>
                  </a:extLst>
                </p:cNvPr>
                <p:cNvSpPr/>
                <p:nvPr/>
              </p:nvSpPr>
              <p:spPr>
                <a:xfrm flipH="1">
                  <a:off x="7808368" y="4476853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45261F16-660D-4269-9B21-5420EAF63793}"/>
                  </a:ext>
                </a:extLst>
              </p:cNvPr>
              <p:cNvGrpSpPr/>
              <p:nvPr/>
            </p:nvGrpSpPr>
            <p:grpSpPr>
              <a:xfrm>
                <a:off x="6286619" y="3431863"/>
                <a:ext cx="859119" cy="859119"/>
                <a:chOff x="8422518" y="3345510"/>
                <a:chExt cx="880527" cy="880528"/>
              </a:xfrm>
            </p:grpSpPr>
            <p:sp>
              <p:nvSpPr>
                <p:cNvPr id="63" name="Oval 62">
                  <a:extLst>
                    <a:ext uri="{FF2B5EF4-FFF2-40B4-BE49-F238E27FC236}">
                      <a16:creationId xmlns:a16="http://schemas.microsoft.com/office/drawing/2014/main" id="{095DA764-6C01-4159-BA3F-9AFCD0BC1A9B}"/>
                    </a:ext>
                  </a:extLst>
                </p:cNvPr>
                <p:cNvSpPr/>
                <p:nvPr/>
              </p:nvSpPr>
              <p:spPr>
                <a:xfrm>
                  <a:off x="8422518" y="3345510"/>
                  <a:ext cx="880527" cy="8805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4" name="Oval 63">
                  <a:extLst>
                    <a:ext uri="{FF2B5EF4-FFF2-40B4-BE49-F238E27FC236}">
                      <a16:creationId xmlns:a16="http://schemas.microsoft.com/office/drawing/2014/main" id="{F8C156CA-43C5-4F46-81D1-CE6D2D7A07AF}"/>
                    </a:ext>
                  </a:extLst>
                </p:cNvPr>
                <p:cNvSpPr/>
                <p:nvPr/>
              </p:nvSpPr>
              <p:spPr>
                <a:xfrm>
                  <a:off x="8470829" y="3393821"/>
                  <a:ext cx="783907" cy="78390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cs typeface="Arial" pitchFamily="34" charset="0"/>
                    </a:rPr>
                    <a:t>Text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5163745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1</TotalTime>
  <Words>16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Org.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37</cp:revision>
  <dcterms:created xsi:type="dcterms:W3CDTF">2021-03-31T02:49:57Z</dcterms:created>
  <dcterms:modified xsi:type="dcterms:W3CDTF">2025-10-15T02:53:15Z</dcterms:modified>
  <cp:category/>
</cp:coreProperties>
</file>